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0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455121436114043E-2"/>
          <c:y val="7.6224328593996846E-2"/>
          <c:w val="0.94508975712777188"/>
          <c:h val="0.8475513428120062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526927138331573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63E-4D61-822E-50B8F7534177}"/>
                </c:ext>
              </c:extLst>
            </c:dLbl>
            <c:dLbl>
              <c:idx val="1"/>
              <c:layout>
                <c:manualLayout>
                  <c:x val="0.2344244984160506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63E-4D61-822E-50B8F7534177}"/>
                </c:ext>
              </c:extLst>
            </c:dLbl>
            <c:dLbl>
              <c:idx val="2"/>
              <c:layout>
                <c:manualLayout>
                  <c:x val="0.3336853220696937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63E-4D61-822E-50B8F7534177}"/>
                </c:ext>
              </c:extLst>
            </c:dLbl>
            <c:dLbl>
              <c:idx val="3"/>
              <c:layout>
                <c:manualLayout>
                  <c:x val="0.3637803590285110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63E-4D61-822E-50B8F7534177}"/>
                </c:ext>
              </c:extLst>
            </c:dLbl>
            <c:dLbl>
              <c:idx val="4"/>
              <c:layout>
                <c:manualLayout>
                  <c:x val="0.28986272439281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63E-4D61-822E-50B8F753417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2.9</c:v>
                </c:pt>
                <c:pt idx="1">
                  <c:v>8.4</c:v>
                </c:pt>
                <c:pt idx="2">
                  <c:v>12.1</c:v>
                </c:pt>
                <c:pt idx="3">
                  <c:v>13.4</c:v>
                </c:pt>
                <c:pt idx="4">
                  <c:v>10.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63E-4D61-822E-50B8F75341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283184"/>
        <c:axId val="1"/>
      </c:barChart>
      <c:catAx>
        <c:axId val="3372831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37283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225130890052355E-2"/>
          <c:y val="7.6224328593996846E-2"/>
          <c:w val="0.9455497382198953"/>
          <c:h val="0.8475513428120062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560209424083769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096-4DDD-B047-12110B015813}"/>
                </c:ext>
              </c:extLst>
            </c:dLbl>
            <c:dLbl>
              <c:idx val="1"/>
              <c:layout>
                <c:manualLayout>
                  <c:x val="0.2890052356020942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096-4DDD-B047-12110B015813}"/>
                </c:ext>
              </c:extLst>
            </c:dLbl>
            <c:dLbl>
              <c:idx val="2"/>
              <c:layout>
                <c:manualLayout>
                  <c:x val="0.2026178010471204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096-4DDD-B047-12110B015813}"/>
                </c:ext>
              </c:extLst>
            </c:dLbl>
            <c:dLbl>
              <c:idx val="3"/>
              <c:layout>
                <c:manualLayout>
                  <c:x val="0.2455497382198952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096-4DDD-B047-12110B015813}"/>
                </c:ext>
              </c:extLst>
            </c:dLbl>
            <c:dLbl>
              <c:idx val="4"/>
              <c:layout>
                <c:manualLayout>
                  <c:x val="0.4120418848167539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096-4DDD-B047-12110B0158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.0999999999999996</c:v>
                </c:pt>
                <c:pt idx="1">
                  <c:v>10.199999999999999</c:v>
                </c:pt>
                <c:pt idx="2">
                  <c:v>7.2</c:v>
                </c:pt>
                <c:pt idx="3">
                  <c:v>8.9</c:v>
                </c:pt>
                <c:pt idx="4">
                  <c:v>1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096-4DDD-B047-12110B015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285984"/>
        <c:axId val="1"/>
      </c:barChart>
      <c:catAx>
        <c:axId val="3372859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37285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3D2403-CFAE-4DD4-8070-D36C48F77999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399B6A-C987-44D3-BB95-1F8857176B8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1994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9046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38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347446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57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23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2511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86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182618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notesSlide" Target="../notesSlides/notesSlide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chart" Target="../charts/chart2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chart" Target="../charts/char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4.emf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22" imgW="349" imgH="350" progId="TCLayout.ActiveDocument.1">
                  <p:embed/>
                </p:oleObj>
              </mc:Choice>
              <mc:Fallback>
                <p:oleObj name="think-cell 幻灯片" r:id="rId2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8199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lumns, bar, bars, think-cell, chart, charts, graph, graphs, comment</a:t>
            </a:r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1ACA2FD6-0307-44C6-A4BF-2C92EC03720C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1285875" y="1912938"/>
          <a:ext cx="3006725" cy="401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6" name="Arrow: Right 15">
            <a:extLst>
              <a:ext uri="{FF2B5EF4-FFF2-40B4-BE49-F238E27FC236}">
                <a16:creationId xmlns:a16="http://schemas.microsoft.com/office/drawing/2014/main" id="{52A724D0-57BD-661C-A482-61DFDCDEFFF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6200000">
            <a:off x="2924175" y="56642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BEE291F-C2E0-E93B-7D6D-0A7F105D9429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2987675" y="2219325"/>
            <a:ext cx="0" cy="2959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AEA8B1A2-4C74-1C57-6CEA-1FD81AF7B79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2987675" y="5391149"/>
            <a:ext cx="0" cy="234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6FCA9008-5CB4-0E84-D7B6-20FDEFDF674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63663" y="1858963"/>
            <a:ext cx="846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09B55B9E-075F-5B0C-BCEC-5F14FD915F9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6549" y="2452688"/>
            <a:ext cx="914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row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104231C2-CF60-C433-BBBE-7B226D2F9BB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39725" y="3133725"/>
            <a:ext cx="911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8395F6C-4F1C-9605-C01F-73EACC33937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0199" y="3814763"/>
            <a:ext cx="920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91C4BFFA-2270-C9C7-6D35-4DEAF1B9FD2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7025" y="4497388"/>
            <a:ext cx="923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17B434CC-1882-F295-7DDA-13AFFE0F2DE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9250" y="5178425"/>
            <a:ext cx="901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5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65411E20-4E82-6518-08FC-1809315FD87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814638" y="5856288"/>
            <a:ext cx="3444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Ø </a:t>
            </a:r>
            <a:fld id="{0E534269-24B7-49E5-A098-5DA5D71320FA}" type="datetime'''''''''''''11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D5DB9665-5DED-423D-84E4-55896E5015FA}"/>
              </a:ext>
            </a:extLst>
          </p:cNvPr>
          <p:cNvGraphicFramePr/>
          <p:nvPr>
            <p:custDataLst>
              <p:tags r:id="rId14"/>
            </p:custDataLst>
            <p:extLst/>
          </p:nvPr>
        </p:nvGraphicFramePr>
        <p:xfrm>
          <a:off x="4327525" y="1912938"/>
          <a:ext cx="3032125" cy="401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76" name="Arrow: Right 75">
            <a:extLst>
              <a:ext uri="{FF2B5EF4-FFF2-40B4-BE49-F238E27FC236}">
                <a16:creationId xmlns:a16="http://schemas.microsoft.com/office/drawing/2014/main" id="{A5422730-68F8-0394-D969-7BC8F94405F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 rot="16200000">
            <a:off x="5688013" y="56642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C2D444E-3689-2691-A370-8ACE8296910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5751513" y="2219325"/>
            <a:ext cx="0" cy="227806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8E3E00-D31E-58D8-EBE5-F277599127B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751513" y="4710112"/>
            <a:ext cx="0" cy="9159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405313" y="1858963"/>
            <a:ext cx="842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EB90AC3-CA0F-D08F-6E87-71C90E43724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597525" y="5856288"/>
            <a:ext cx="306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Ø </a:t>
            </a:r>
            <a:fld id="{8D71C50D-9F64-4E11-B751-CB26B9C954BC}" type="datetime'''9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Rechteck 137">
            <a:extLst>
              <a:ext uri="{FF2B5EF4-FFF2-40B4-BE49-F238E27FC236}">
                <a16:creationId xmlns:a16="http://schemas.microsoft.com/office/drawing/2014/main" id="{B20862FE-4DDF-C465-AD48-76B18C55BA4B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24" name="tc_columnheader">
            <a:extLst>
              <a:ext uri="{FF2B5EF4-FFF2-40B4-BE49-F238E27FC236}">
                <a16:creationId xmlns:a16="http://schemas.microsoft.com/office/drawing/2014/main" id="{E28719CA-9CAC-0EA4-B7C0-5760E0F2AB74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6" name="tc_columnhead">
              <a:extLst>
                <a:ext uri="{FF2B5EF4-FFF2-40B4-BE49-F238E27FC236}">
                  <a16:creationId xmlns:a16="http://schemas.microsoft.com/office/drawing/2014/main" id="{5CA7CDCE-221A-0714-7360-ADAC5007858E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7" name="tc_columnheadline">
              <a:extLst>
                <a:ext uri="{FF2B5EF4-FFF2-40B4-BE49-F238E27FC236}">
                  <a16:creationId xmlns:a16="http://schemas.microsoft.com/office/drawing/2014/main" id="{FF1019F7-572C-0F19-C3B0-52E15EABA7C8}"/>
                </a:ext>
              </a:extLst>
            </p:cNvPr>
            <p:cNvCxnSpPr>
              <a:cxnSpLocks/>
              <a:stCxn id="26" idx="4"/>
              <a:endCxn id="26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tc_columnheader">
            <a:extLst>
              <a:ext uri="{FF2B5EF4-FFF2-40B4-BE49-F238E27FC236}">
                <a16:creationId xmlns:a16="http://schemas.microsoft.com/office/drawing/2014/main" id="{5189801A-1E09-0A68-23CD-CC8628B4885B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30" name="tc_columnhead">
              <a:extLst>
                <a:ext uri="{FF2B5EF4-FFF2-40B4-BE49-F238E27FC236}">
                  <a16:creationId xmlns:a16="http://schemas.microsoft.com/office/drawing/2014/main" id="{B2E5128E-B3AC-50DF-159F-CF24FCA322CF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31" name="tc_columnheadline">
              <a:extLst>
                <a:ext uri="{FF2B5EF4-FFF2-40B4-BE49-F238E27FC236}">
                  <a16:creationId xmlns:a16="http://schemas.microsoft.com/office/drawing/2014/main" id="{0310F92A-FF9E-2BC5-F9AA-B9F39881538A}"/>
                </a:ext>
              </a:extLst>
            </p:cNvPr>
            <p:cNvCxnSpPr>
              <a:cxnSpLocks/>
              <a:stCxn id="30" idx="4"/>
              <a:endCxn id="3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18">
            <a:extLst>
              <a:ext uri="{FF2B5EF4-FFF2-40B4-BE49-F238E27FC236}">
                <a16:creationId xmlns:a16="http://schemas.microsoft.com/office/drawing/2014/main" id="{3EFD0457-092B-6251-3B2E-4C2DD78F634C}"/>
              </a:ext>
            </a:extLst>
          </p:cNvPr>
          <p:cNvSpPr>
            <a:spLocks/>
          </p:cNvSpPr>
          <p:nvPr/>
        </p:nvSpPr>
        <p:spPr>
          <a:xfrm>
            <a:off x="8811106" y="-1359992"/>
            <a:ext cx="4575600" cy="19193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s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a chart's internal datashe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a chart or a chart feature to open the context menu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a chart or a feature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ensure both charts have the same scale, select both sets of bars, right-click to open the context menu, and select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Set Same Scal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0468C8C-3867-461F-8875-BDE88F5D377B}"/>
              </a:ext>
            </a:extLst>
          </p:cNvPr>
          <p:cNvSpPr txBox="1"/>
          <p:nvPr/>
        </p:nvSpPr>
        <p:spPr>
          <a:xfrm>
            <a:off x="5293519" y="805246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数据</a:t>
            </a:r>
          </a:p>
        </p:txBody>
      </p:sp>
    </p:spTree>
    <p:extLst>
      <p:ext uri="{BB962C8B-B14F-4D97-AF65-F5344CB8AC3E}">
        <p14:creationId xmlns:p14="http://schemas.microsoft.com/office/powerpoint/2010/main" val="282231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KYRqyfHMkkYNOmnlks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_jrapfw4eH6INRYIPI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yrMQ4MhvSIljrvR8vS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KAT5CrOBHAXNW9opKz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dNpCwDqwjIucqB2USc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3RiON9EQyH4vqK2_uF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UqM4BbySBrg7NnrR8D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mznB_blKAeaZiYjWvQ_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R3BFDmdHH2d0Q_QyEr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0UWY0LHxGjRlMdxF9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zy9RRS37wuvniJDeWu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KGT8b.l2XrFqkYkqo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OtzcCHzJ0eLuZ4_chZ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LVp6_nStwJs5.ItYJ9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Gu2hyYe.sSBVzKZi7q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4r0XxZ5SoyWR9aCOwN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TTPwEZemajrGqAR0cj7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91</Words>
  <Application>Microsoft Office PowerPoint</Application>
  <PresentationFormat>宽屏</PresentationFormat>
  <Paragraphs>3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9:11:41Z</dcterms:created>
  <dcterms:modified xsi:type="dcterms:W3CDTF">2025-09-09T09:13:16Z</dcterms:modified>
</cp:coreProperties>
</file>